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10"/>
  </p:notesMasterIdLst>
  <p:handoutMasterIdLst>
    <p:handoutMasterId r:id="rId11"/>
  </p:handoutMasterIdLst>
  <p:sldIdLst>
    <p:sldId id="280" r:id="rId2"/>
    <p:sldId id="286" r:id="rId3"/>
    <p:sldId id="287" r:id="rId4"/>
    <p:sldId id="283" r:id="rId5"/>
    <p:sldId id="282" r:id="rId6"/>
    <p:sldId id="285" r:id="rId7"/>
    <p:sldId id="284" r:id="rId8"/>
    <p:sldId id="281" r:id="rId9"/>
  </p:sldIdLst>
  <p:sldSz cx="9906000" cy="6858000" type="A4"/>
  <p:notesSz cx="6724650" cy="97742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227AF14D-290A-4DFF-9F7A-E145126C0B85}">
          <p14:sldIdLst>
            <p14:sldId id="280"/>
            <p14:sldId id="286"/>
            <p14:sldId id="287"/>
            <p14:sldId id="283"/>
            <p14:sldId id="282"/>
            <p14:sldId id="285"/>
            <p14:sldId id="284"/>
            <p14:sldId id="281"/>
          </p14:sldIdLst>
        </p14:section>
        <p14:section name="Seção sem Título" id="{23D2FC90-CE5D-41F1-BF57-F7E2CE7E7F4C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CDC7"/>
    <a:srgbClr val="C2B3AA"/>
    <a:srgbClr val="B59785"/>
    <a:srgbClr val="CECDCC"/>
    <a:srgbClr val="BA8880"/>
    <a:srgbClr val="7C79C1"/>
    <a:srgbClr val="BAC3CF"/>
    <a:srgbClr val="9EACC4"/>
    <a:srgbClr val="C5CDCE"/>
    <a:srgbClr val="A7A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90" d="100"/>
          <a:sy n="90" d="100"/>
        </p:scale>
        <p:origin x="8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4"/>
    </p:cViewPr>
  </p:sorterViewPr>
  <p:notesViewPr>
    <p:cSldViewPr snapToGrid="0">
      <p:cViewPr varScale="1">
        <p:scale>
          <a:sx n="81" d="100"/>
          <a:sy n="81" d="100"/>
        </p:scale>
        <p:origin x="401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xmlns="" id="{9809089C-F1CB-27F8-D8CD-B32E983EB3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ACBDF6C3-172E-DAA3-742C-46EF119594B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08413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1DC814-4EF8-4CFA-85E1-747722653CA6}" type="datetimeFigureOut">
              <a:rPr lang="pt-BR" smtClean="0"/>
              <a:t>09/09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47730A1B-6162-2A4B-78A8-98CFA3F403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F10CEFC1-D143-503B-0B80-0CFA58ED50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08413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674E9F-EB3A-4C04-A56C-7459066518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1632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8413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A3D5BB-C216-4D88-AD3D-0359EF2C46CC}" type="datetimeFigureOut">
              <a:rPr lang="pt-BR" smtClean="0"/>
              <a:t>09/09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22375"/>
            <a:ext cx="476567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3100" y="4703763"/>
            <a:ext cx="5378450" cy="3848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8413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9A79C0-FCD7-4901-B6AB-E78CEC64399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8295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png"/><Relationship Id="rId5" Type="http://schemas.openxmlformats.org/officeDocument/2006/relationships/tags" Target="../tags/tag4.xml"/><Relationship Id="rId10" Type="http://schemas.openxmlformats.org/officeDocument/2006/relationships/image" Target="../media/image2.png"/><Relationship Id="rId4" Type="http://schemas.openxmlformats.org/officeDocument/2006/relationships/tags" Target="../tags/tag3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png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8.xml"/><Relationship Id="rId10" Type="http://schemas.openxmlformats.org/officeDocument/2006/relationships/image" Target="../media/image4.png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10" Type="http://schemas.openxmlformats.org/officeDocument/2006/relationships/image" Target="../media/image7.png"/><Relationship Id="rId4" Type="http://schemas.openxmlformats.org/officeDocument/2006/relationships/tags" Target="../tags/tag11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10" Type="http://schemas.openxmlformats.org/officeDocument/2006/relationships/image" Target="../media/image7.png"/><Relationship Id="rId4" Type="http://schemas.openxmlformats.org/officeDocument/2006/relationships/tags" Target="../tags/tag15.xml"/><Relationship Id="rId9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oleObject" Target="../embeddings/oleObject9.bin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ing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79 Rectángulo">
            <a:extLst>
              <a:ext uri="{FF2B5EF4-FFF2-40B4-BE49-F238E27FC236}">
                <a16:creationId xmlns:a16="http://schemas.microsoft.com/office/drawing/2014/main" xmlns="" id="{AADF2ABD-0280-5E71-E609-722330148BF8}"/>
              </a:ext>
            </a:extLst>
          </p:cNvPr>
          <p:cNvSpPr/>
          <p:nvPr userDrawn="1"/>
        </p:nvSpPr>
        <p:spPr>
          <a:xfrm>
            <a:off x="0" y="0"/>
            <a:ext cx="9906000" cy="1998921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45000">
                <a:srgbClr val="D2D7D9"/>
              </a:gs>
              <a:gs pos="90000">
                <a:srgbClr val="B59785"/>
              </a:gs>
            </a:gsLst>
            <a:lin ang="16200000" scaled="0"/>
          </a:gra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0" name="79 Rectángulo"/>
          <p:cNvSpPr/>
          <p:nvPr/>
        </p:nvSpPr>
        <p:spPr>
          <a:xfrm flipV="1">
            <a:off x="0" y="6475227"/>
            <a:ext cx="9906000" cy="382773"/>
          </a:xfrm>
          <a:prstGeom prst="rect">
            <a:avLst/>
          </a:prstGeom>
          <a:solidFill>
            <a:srgbClr val="C2B3AA"/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1531955" y="2832971"/>
            <a:ext cx="7396462" cy="1035823"/>
          </a:xfrm>
        </p:spPr>
        <p:txBody>
          <a:bodyPr vert="horz" lIns="91440" tIns="0" rIns="91440" bIns="0" rtlCol="0" anchor="t" anchorCtr="0">
            <a:noAutofit/>
          </a:bodyPr>
          <a:lstStyle>
            <a:lvl1pPr>
              <a:defRPr lang="es-ES" sz="2400" b="1" cap="all" baseline="0" dirty="0">
                <a:ln>
                  <a:noFill/>
                </a:ln>
                <a:solidFill>
                  <a:schemeClr val="tx1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defRPr>
            </a:lvl1pPr>
          </a:lstStyle>
          <a:p>
            <a:pPr marL="0" lvl="0"/>
            <a:r>
              <a:rPr lang="en-US" noProof="0" dirty="0"/>
              <a:t>TÍTULO</a:t>
            </a:r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xmlns="" id="{C0D4C7CA-4D50-8DE6-C7F2-6C07DB120066}"/>
              </a:ext>
            </a:extLst>
          </p:cNvPr>
          <p:cNvSpPr txBox="1">
            <a:spLocks/>
          </p:cNvSpPr>
          <p:nvPr userDrawn="1"/>
        </p:nvSpPr>
        <p:spPr>
          <a:xfrm>
            <a:off x="1531955" y="4028075"/>
            <a:ext cx="7396462" cy="1035823"/>
          </a:xfrm>
          <a:prstGeom prst="rect">
            <a:avLst/>
          </a:prstGeom>
        </p:spPr>
        <p:txBody>
          <a:bodyPr vert="horz" lIns="91440" tIns="0" rIns="9144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s-ES" sz="2400" b="1" kern="1200" cap="all" baseline="0" dirty="0">
                <a:ln>
                  <a:noFill/>
                </a:ln>
                <a:solidFill>
                  <a:schemeClr val="tx1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defRPr>
            </a:lvl1pPr>
          </a:lstStyle>
          <a:p>
            <a:r>
              <a:rPr lang="en-US" sz="1600" dirty="0" smtClean="0"/>
              <a:t>AUTOR(</a:t>
            </a:r>
            <a:r>
              <a:rPr lang="en-US" sz="1600" dirty="0" err="1" smtClean="0"/>
              <a:t>es</a:t>
            </a:r>
            <a:r>
              <a:rPr lang="en-US" sz="1600" dirty="0" smtClean="0"/>
              <a:t>) / LOGO(s) INSTITUIÇÃO</a:t>
            </a:r>
            <a:endParaRPr lang="en-US" sz="1600" dirty="0"/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xmlns="" id="{6C94203F-B98B-7F3B-0FD4-65AF15C3B73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896" y="1098237"/>
            <a:ext cx="1004428" cy="642334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83"/>
          <a:stretch/>
        </p:blipFill>
        <p:spPr>
          <a:xfrm>
            <a:off x="359180" y="27077"/>
            <a:ext cx="2345549" cy="1841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843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:a16="http://schemas.microsoft.com/office/drawing/2014/main" xmlns="" id="{AD040CA2-0C07-F482-F4EB-3E5ACB88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7" name="12 Marcador de texto">
            <a:extLst>
              <a:ext uri="{FF2B5EF4-FFF2-40B4-BE49-F238E27FC236}">
                <a16:creationId xmlns:a16="http://schemas.microsoft.com/office/drawing/2014/main" xmlns="" id="{B20DD1B8-AA69-4625-1099-A20782E860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66132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79 Rectángulo">
            <a:extLst>
              <a:ext uri="{FF2B5EF4-FFF2-40B4-BE49-F238E27FC236}">
                <a16:creationId xmlns:a16="http://schemas.microsoft.com/office/drawing/2014/main" xmlns="" id="{AADF2ABD-0280-5E71-E609-722330148BF8}"/>
              </a:ext>
            </a:extLst>
          </p:cNvPr>
          <p:cNvSpPr/>
          <p:nvPr userDrawn="1"/>
        </p:nvSpPr>
        <p:spPr>
          <a:xfrm>
            <a:off x="0" y="0"/>
            <a:ext cx="9906000" cy="667724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45000">
                <a:srgbClr val="D2D7D9"/>
              </a:gs>
              <a:gs pos="90000">
                <a:srgbClr val="B59785"/>
              </a:gs>
            </a:gsLst>
            <a:lin ang="14400000" scaled="0"/>
          </a:gra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7277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79 Rectángulo">
            <a:extLst>
              <a:ext uri="{FF2B5EF4-FFF2-40B4-BE49-F238E27FC236}">
                <a16:creationId xmlns:a16="http://schemas.microsoft.com/office/drawing/2014/main" xmlns="" id="{AADF2ABD-0280-5E71-E609-722330148BF8}"/>
              </a:ext>
            </a:extLst>
          </p:cNvPr>
          <p:cNvSpPr/>
          <p:nvPr userDrawn="1"/>
        </p:nvSpPr>
        <p:spPr>
          <a:xfrm>
            <a:off x="0" y="5571460"/>
            <a:ext cx="9906000" cy="1286539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7000">
                <a:srgbClr val="D2D7D9"/>
              </a:gs>
              <a:gs pos="69000">
                <a:srgbClr val="B59785"/>
              </a:gs>
            </a:gsLst>
            <a:lin ang="3600000" scaled="0"/>
          </a:gra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547" y="5676116"/>
            <a:ext cx="1003749" cy="1003749"/>
          </a:xfrm>
          <a:prstGeom prst="rect">
            <a:avLst/>
          </a:prstGeom>
        </p:spPr>
      </p:pic>
      <p:sp>
        <p:nvSpPr>
          <p:cNvPr id="14" name="1 Título"/>
          <p:cNvSpPr>
            <a:spLocks noGrp="1"/>
          </p:cNvSpPr>
          <p:nvPr>
            <p:ph type="ctrTitle" hasCustomPrompt="1"/>
          </p:nvPr>
        </p:nvSpPr>
        <p:spPr>
          <a:xfrm>
            <a:off x="444139" y="278104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 smtClean="0"/>
              <a:t>CONCLUSÕES</a:t>
            </a:r>
            <a:endParaRPr lang="es-ES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293" y="5853348"/>
            <a:ext cx="1889050" cy="649283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875" y="5676116"/>
            <a:ext cx="1003749" cy="100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573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pening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79 Rectángulo">
            <a:extLst>
              <a:ext uri="{FF2B5EF4-FFF2-40B4-BE49-F238E27FC236}">
                <a16:creationId xmlns:a16="http://schemas.microsoft.com/office/drawing/2014/main" xmlns="" id="{AADF2ABD-0280-5E71-E609-722330148BF8}"/>
              </a:ext>
            </a:extLst>
          </p:cNvPr>
          <p:cNvSpPr/>
          <p:nvPr userDrawn="1"/>
        </p:nvSpPr>
        <p:spPr>
          <a:xfrm>
            <a:off x="0" y="0"/>
            <a:ext cx="9906000" cy="6857999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45000">
                <a:srgbClr val="D2D7D9"/>
              </a:gs>
              <a:gs pos="90000">
                <a:srgbClr val="B59785"/>
              </a:gs>
            </a:gsLst>
            <a:lin ang="3600000" scaled="0"/>
          </a:gra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Click to modify title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Imagem 1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593" y="5983817"/>
            <a:ext cx="1889050" cy="649283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185" y="5724043"/>
            <a:ext cx="1003749" cy="1003749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345" y="5724042"/>
            <a:ext cx="1003749" cy="100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65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Opening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79 Rectángulo">
            <a:extLst>
              <a:ext uri="{FF2B5EF4-FFF2-40B4-BE49-F238E27FC236}">
                <a16:creationId xmlns:a16="http://schemas.microsoft.com/office/drawing/2014/main" xmlns="" id="{AADF2ABD-0280-5E71-E609-722330148BF8}"/>
              </a:ext>
            </a:extLst>
          </p:cNvPr>
          <p:cNvSpPr/>
          <p:nvPr userDrawn="1"/>
        </p:nvSpPr>
        <p:spPr>
          <a:xfrm>
            <a:off x="0" y="0"/>
            <a:ext cx="9906000" cy="6857999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45000">
                <a:srgbClr val="D2D7D9"/>
              </a:gs>
              <a:gs pos="90000">
                <a:srgbClr val="B59785"/>
              </a:gs>
            </a:gsLst>
            <a:lin ang="14400000" scaled="0"/>
          </a:gra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Click to modify title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4"/>
          <a:stretch/>
        </p:blipFill>
        <p:spPr>
          <a:xfrm>
            <a:off x="1363714" y="6154802"/>
            <a:ext cx="6943060" cy="52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132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Opening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79 Rectángulo">
            <a:extLst>
              <a:ext uri="{FF2B5EF4-FFF2-40B4-BE49-F238E27FC236}">
                <a16:creationId xmlns:a16="http://schemas.microsoft.com/office/drawing/2014/main" xmlns="" id="{AADF2ABD-0280-5E71-E609-722330148BF8}"/>
              </a:ext>
            </a:extLst>
          </p:cNvPr>
          <p:cNvSpPr/>
          <p:nvPr userDrawn="1"/>
        </p:nvSpPr>
        <p:spPr>
          <a:xfrm>
            <a:off x="0" y="5720316"/>
            <a:ext cx="9906000" cy="1137683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29000">
                <a:srgbClr val="D2D7D9"/>
              </a:gs>
              <a:gs pos="73000">
                <a:srgbClr val="B59785"/>
              </a:gs>
            </a:gsLst>
            <a:lin ang="5400000" scaled="0"/>
          </a:gra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Click to modify title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4"/>
          <a:stretch/>
        </p:blipFill>
        <p:spPr>
          <a:xfrm>
            <a:off x="1363714" y="6154802"/>
            <a:ext cx="6943060" cy="52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8620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014F651E-3236-6B41-6BC0-47C5DA85C424}"/>
              </a:ext>
            </a:extLst>
          </p:cNvPr>
          <p:cNvSpPr/>
          <p:nvPr userDrawn="1"/>
        </p:nvSpPr>
        <p:spPr>
          <a:xfrm>
            <a:off x="4583563" y="0"/>
            <a:ext cx="5334000" cy="685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476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cap="all" baseline="0" dirty="0" err="1">
                <a:solidFill>
                  <a:schemeClr val="accent5"/>
                </a:solidFill>
              </a:rPr>
              <a:t>imagem</a:t>
            </a:r>
            <a:endParaRPr lang="en-US" sz="4000" cap="all" baseline="0" dirty="0">
              <a:solidFill>
                <a:schemeClr val="accent5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444139" y="278104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Subtítulo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6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79 Rectángulo">
            <a:extLst>
              <a:ext uri="{FF2B5EF4-FFF2-40B4-BE49-F238E27FC236}">
                <a16:creationId xmlns:a16="http://schemas.microsoft.com/office/drawing/2014/main" xmlns="" id="{CB3F5060-1486-0B6C-BD80-05E6547F58F3}"/>
              </a:ext>
            </a:extLst>
          </p:cNvPr>
          <p:cNvSpPr/>
          <p:nvPr userDrawn="1"/>
        </p:nvSpPr>
        <p:spPr>
          <a:xfrm>
            <a:off x="0" y="6719298"/>
            <a:ext cx="9906000" cy="148975"/>
          </a:xfrm>
          <a:prstGeom prst="rect">
            <a:avLst/>
          </a:prstGeom>
          <a:solidFill>
            <a:srgbClr val="B59785"/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9264D89E-257D-5F16-256D-EC35E53D1984}"/>
              </a:ext>
            </a:extLst>
          </p:cNvPr>
          <p:cNvSpPr txBox="1"/>
          <p:nvPr userDrawn="1"/>
        </p:nvSpPr>
        <p:spPr>
          <a:xfrm>
            <a:off x="3957430" y="6673065"/>
            <a:ext cx="1205779" cy="2308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900" dirty="0" smtClean="0">
                <a:solidFill>
                  <a:schemeClr val="tx1"/>
                </a:solidFill>
              </a:rPr>
              <a:t>39° </a:t>
            </a:r>
            <a:r>
              <a:rPr lang="en-US" sz="900" dirty="0">
                <a:solidFill>
                  <a:schemeClr val="tx1"/>
                </a:solidFill>
              </a:rPr>
              <a:t>ANPET - </a:t>
            </a:r>
            <a:r>
              <a:rPr lang="en-US" sz="900" dirty="0" err="1" smtClean="0">
                <a:solidFill>
                  <a:schemeClr val="tx1"/>
                </a:solidFill>
              </a:rPr>
              <a:t>Goiânia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198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9" y="1140223"/>
            <a:ext cx="9325870" cy="1877437"/>
          </a:xfrm>
        </p:spPr>
        <p:txBody>
          <a:bodyPr wrap="square">
            <a:spAutoFit/>
          </a:bodyPr>
          <a:lstStyle>
            <a:lvl1pPr marL="179388" indent="-179388">
              <a:spcBef>
                <a:spcPts val="1200"/>
              </a:spcBef>
              <a:buClr>
                <a:schemeClr val="tx1"/>
              </a:buClr>
              <a:defRPr lang="es-E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76200">
              <a:spcBef>
                <a:spcPts val="12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▪"/>
              <a:defRPr lang="es-E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158750">
              <a:spcBef>
                <a:spcPts val="600"/>
              </a:spcBef>
              <a:buClr>
                <a:schemeClr val="tx1"/>
              </a:buClr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538" indent="-14922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25" indent="-149225">
              <a:spcBef>
                <a:spcPts val="600"/>
              </a:spcBef>
              <a:buClr>
                <a:schemeClr val="tx1"/>
              </a:buClr>
              <a:defRPr lang="es-E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9388" lvl="0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ext</a:t>
            </a:r>
          </a:p>
          <a:p>
            <a:pPr marL="179388" lvl="1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Second level</a:t>
            </a:r>
          </a:p>
          <a:p>
            <a:pPr marL="179388" lvl="2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hird level</a:t>
            </a:r>
          </a:p>
          <a:p>
            <a:pPr marL="179388" lvl="3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ourth level</a:t>
            </a:r>
          </a:p>
          <a:p>
            <a:pPr marL="179388" lvl="4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ifth level</a:t>
            </a:r>
          </a:p>
        </p:txBody>
      </p:sp>
      <p:sp>
        <p:nvSpPr>
          <p:cNvPr id="5" name="1 Título">
            <a:extLst>
              <a:ext uri="{FF2B5EF4-FFF2-40B4-BE49-F238E27FC236}">
                <a16:creationId xmlns:a16="http://schemas.microsoft.com/office/drawing/2014/main" xmlns="" id="{5BBCC1F1-C641-85D2-5366-85D1E104F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6" name="12 Marcador de texto">
            <a:extLst>
              <a:ext uri="{FF2B5EF4-FFF2-40B4-BE49-F238E27FC236}">
                <a16:creationId xmlns:a16="http://schemas.microsoft.com/office/drawing/2014/main" xmlns="" id="{D7A90F70-3246-A12C-7192-F2E9918F60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4677148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8" y="1140224"/>
            <a:ext cx="4437377" cy="1646605"/>
          </a:xfrm>
        </p:spPr>
        <p:txBody>
          <a:bodyPr>
            <a:spAutoFit/>
          </a:bodyPr>
          <a:lstStyle>
            <a:lvl1pPr marL="179388" indent="-179388" algn="l">
              <a:spcBef>
                <a:spcPts val="1200"/>
              </a:spcBef>
              <a:defRPr/>
            </a:lvl1pPr>
            <a:lvl2pPr marL="444500" indent="-179388" algn="l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/>
            </a:lvl2pPr>
            <a:lvl3pPr marL="717550" indent="-179388" algn="l">
              <a:spcBef>
                <a:spcPts val="600"/>
              </a:spcBef>
              <a:buClr>
                <a:schemeClr val="tx1"/>
              </a:buClr>
              <a:defRPr sz="1400"/>
            </a:lvl3pPr>
            <a:lvl4pPr marL="982663" indent="-179388" algn="l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sz="1400"/>
            </a:lvl4pPr>
            <a:lvl5pPr algn="l">
              <a:spcBef>
                <a:spcPts val="600"/>
              </a:spcBef>
              <a:buClr>
                <a:schemeClr val="tx1"/>
              </a:buClr>
              <a:defRPr sz="1400"/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8" name="12 Marcador de texto">
            <a:extLst>
              <a:ext uri="{FF2B5EF4-FFF2-40B4-BE49-F238E27FC236}">
                <a16:creationId xmlns:a16="http://schemas.microsoft.com/office/drawing/2014/main" xmlns="" id="{21B3FA17-321F-F195-C7D2-D8B0D7377A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4705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:a16="http://schemas.microsoft.com/office/drawing/2014/main" xmlns="" id="{AD040CA2-0C07-F482-F4EB-3E5ACB88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7" name="12 Marcador de texto">
            <a:extLst>
              <a:ext uri="{FF2B5EF4-FFF2-40B4-BE49-F238E27FC236}">
                <a16:creationId xmlns:a16="http://schemas.microsoft.com/office/drawing/2014/main" xmlns="" id="{B20DD1B8-AA69-4625-1099-A20782E860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9730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rgbClr val="D7CD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:a16="http://schemas.microsoft.com/office/drawing/2014/main" xmlns="" id="{AD040CA2-0C07-F482-F4EB-3E5ACB88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7" name="12 Marcador de texto">
            <a:extLst>
              <a:ext uri="{FF2B5EF4-FFF2-40B4-BE49-F238E27FC236}">
                <a16:creationId xmlns:a16="http://schemas.microsoft.com/office/drawing/2014/main" xmlns="" id="{B20DD1B8-AA69-4625-1099-A20782E860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4011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272480" y="402828"/>
            <a:ext cx="9361040" cy="63341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/>
          <a:p>
            <a:r>
              <a:rPr lang="en-US" noProof="0"/>
              <a:t>Click to modify title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7648" y="1140570"/>
            <a:ext cx="9334417" cy="164660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noProof="0" dirty="0"/>
              <a:t>Click to modify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79 Rectángulo">
            <a:extLst>
              <a:ext uri="{FF2B5EF4-FFF2-40B4-BE49-F238E27FC236}">
                <a16:creationId xmlns:a16="http://schemas.microsoft.com/office/drawing/2014/main" xmlns="" id="{CB3F5060-1486-0B6C-BD80-05E6547F58F3}"/>
              </a:ext>
            </a:extLst>
          </p:cNvPr>
          <p:cNvSpPr/>
          <p:nvPr userDrawn="1"/>
        </p:nvSpPr>
        <p:spPr>
          <a:xfrm>
            <a:off x="0" y="6719298"/>
            <a:ext cx="9906000" cy="148975"/>
          </a:xfrm>
          <a:prstGeom prst="rect">
            <a:avLst/>
          </a:prstGeom>
          <a:solidFill>
            <a:srgbClr val="B59785"/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7" name="2 Marcador de número de diapositiva"/>
          <p:cNvSpPr txBox="1">
            <a:spLocks/>
          </p:cNvSpPr>
          <p:nvPr/>
        </p:nvSpPr>
        <p:spPr>
          <a:xfrm>
            <a:off x="9598025" y="29130"/>
            <a:ext cx="288000" cy="223488"/>
          </a:xfrm>
          <a:prstGeom prst="rect">
            <a:avLst/>
          </a:prstGeom>
          <a:noFill/>
        </p:spPr>
        <p:txBody>
          <a:bodyPr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s-ES" sz="1000" b="0" i="0" u="none" strike="noStrike" kern="1200" cap="none" spc="0" normalizeH="0" baseline="0" noProof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00" b="0" i="0" u="none" strike="noStrike" kern="1200" cap="none" spc="0" normalizeH="0" baseline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9264D89E-257D-5F16-256D-EC35E53D1984}"/>
              </a:ext>
            </a:extLst>
          </p:cNvPr>
          <p:cNvSpPr txBox="1"/>
          <p:nvPr userDrawn="1"/>
        </p:nvSpPr>
        <p:spPr>
          <a:xfrm>
            <a:off x="3957430" y="6673065"/>
            <a:ext cx="1205779" cy="2308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900" dirty="0" smtClean="0">
                <a:solidFill>
                  <a:schemeClr val="tx1"/>
                </a:solidFill>
              </a:rPr>
              <a:t>39° </a:t>
            </a:r>
            <a:r>
              <a:rPr lang="en-US" sz="900" dirty="0">
                <a:solidFill>
                  <a:schemeClr val="tx1"/>
                </a:solidFill>
              </a:rPr>
              <a:t>ANPET - </a:t>
            </a:r>
            <a:r>
              <a:rPr lang="en-US" sz="900" dirty="0" err="1" smtClean="0">
                <a:solidFill>
                  <a:schemeClr val="tx1"/>
                </a:solidFill>
              </a:rPr>
              <a:t>Goiânia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0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3" r:id="rId3"/>
    <p:sldLayoutId id="2147483694" r:id="rId4"/>
    <p:sldLayoutId id="2147483691" r:id="rId5"/>
    <p:sldLayoutId id="2147483681" r:id="rId6"/>
    <p:sldLayoutId id="2147483682" r:id="rId7"/>
    <p:sldLayoutId id="2147483683" r:id="rId8"/>
    <p:sldLayoutId id="2147483695" r:id="rId9"/>
    <p:sldLayoutId id="2147483696" r:id="rId10"/>
    <p:sldLayoutId id="2147483685" r:id="rId11"/>
    <p:sldLayoutId id="214748369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Nirmala UI" panose="020B0502040204020203" pitchFamily="34" charset="0"/>
          <a:ea typeface="Nirmala UI" panose="020B0502040204020203" pitchFamily="34" charset="0"/>
          <a:cs typeface="Nirmala UI" panose="020B0502040204020203" pitchFamily="34" charset="0"/>
        </a:defRPr>
      </a:lvl1pPr>
    </p:titleStyle>
    <p:bodyStyle>
      <a:lvl1pPr marL="179388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8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1pPr>
      <a:lvl2pPr marL="444500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tabLst/>
        <a:defRPr lang="es-ES" sz="16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2pPr>
      <a:lvl3pPr marL="717550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3pPr>
      <a:lvl4pPr marL="1076325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4pPr>
      <a:lvl5pPr marL="1341438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dirty="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7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orient="horz" pos="411">
          <p15:clr>
            <a:srgbClr val="F26B43"/>
          </p15:clr>
        </p15:guide>
        <p15:guide id="6" orient="horz" pos="2319">
          <p15:clr>
            <a:srgbClr val="F26B43"/>
          </p15:clr>
        </p15:guide>
        <p15:guide id="7" pos="31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7BB920E-554B-71B5-BA7F-03FF51760B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1955" y="2621304"/>
            <a:ext cx="7396462" cy="1035823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849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7603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7CDC7">
            <a:alpha val="5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7390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xmlns="" id="{1A5FA3C5-72FF-F2BD-CC3C-C88D834C4A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290C6D52-99F5-433D-C3F0-F8C7101D1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8148FA2E-623C-8CD6-84F2-DC5CF7F2ED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6335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4C466BE-655F-37D7-CFA9-B50A7BA33F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6994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7255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571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B3BCAF4-7CC4-A46F-CB9F-91AD1DF3A6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7757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traer_2022">
  <a:themeElements>
    <a:clrScheme name="Violeta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Sitraer2022_Font">
      <a:majorFont>
        <a:latin typeface="Nirmala UI"/>
        <a:ea typeface=""/>
        <a:cs typeface=""/>
      </a:majorFont>
      <a:minorFont>
        <a:latin typeface="Nirmala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47625">
          <a:solidFill>
            <a:schemeClr val="accent1"/>
          </a:solidFill>
          <a:miter lim="800000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rnd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vert="horz" wrap="square" lIns="91440" tIns="45720" rIns="91440" bIns="4572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G2021_theme" id="{42BD566E-8192-4CBA-801F-736BF5761F70}" vid="{309C6E05-5CA8-48AE-8329-FA4B825B0782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72</TotalTime>
  <Words>0</Words>
  <Application>Microsoft Office PowerPoint</Application>
  <PresentationFormat>Papel A4 (210 x 297 mm)</PresentationFormat>
  <Paragraphs>0</Paragraphs>
  <Slides>8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8" baseType="lpstr">
      <vt:lpstr>Malgun Gothic</vt:lpstr>
      <vt:lpstr>Malgun Gothic Semilight</vt:lpstr>
      <vt:lpstr>Arial</vt:lpstr>
      <vt:lpstr>Calibri</vt:lpstr>
      <vt:lpstr>Neo Sans Std</vt:lpstr>
      <vt:lpstr>Nirmala UI</vt:lpstr>
      <vt:lpstr>Nirmala UI Semilight</vt:lpstr>
      <vt:lpstr>Wingdings</vt:lpstr>
      <vt:lpstr>Sitraer_2022</vt:lpstr>
      <vt:lpstr>Diapositiva de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Santos, Luca J.</dc:creator>
  <cp:lastModifiedBy>Renata Cavion</cp:lastModifiedBy>
  <cp:revision>68</cp:revision>
  <dcterms:created xsi:type="dcterms:W3CDTF">2022-03-24T14:42:30Z</dcterms:created>
  <dcterms:modified xsi:type="dcterms:W3CDTF">2025-09-09T17:25:19Z</dcterms:modified>
</cp:coreProperties>
</file>